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20.xml" ContentType="application/vnd.openxmlformats-officedocument.presentationml.tags+xml"/>
  <Override PartName="/ppt/tags/tag130.xml" ContentType="application/vnd.openxmlformats-officedocument.presentationml.tags+xml"/>
  <Override PartName="/ppt/tags/tag140.xml" ContentType="application/vnd.openxmlformats-officedocument.presentationml.tags+xml"/>
  <Override PartName="/ppt/tags/tag180.xml" ContentType="application/vnd.openxmlformats-officedocument.presentationml.tags+xml"/>
  <Override PartName="/ppt/tags/tag190.xml" ContentType="application/vnd.openxmlformats-officedocument.presentationml.tags+xml"/>
  <Override PartName="/ppt/tags/tag200.xml" ContentType="application/vnd.openxmlformats-officedocument.presentationml.tags+xml"/>
  <Override PartName="/ppt/tags/tag26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0"/>
  </p:notesMasterIdLst>
  <p:handoutMasterIdLst>
    <p:handoutMasterId r:id="rId11"/>
  </p:handoutMasterIdLst>
  <p:sldIdLst>
    <p:sldId id="256" r:id="rId6"/>
    <p:sldId id="292" r:id="rId7"/>
    <p:sldId id="264" r:id="rId8"/>
    <p:sldId id="291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DBAD87-2F08-42A6-B650-D36872CDC967}" v="9" dt="2025-03-07T17:47:35.535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600"/>
  </p:normalViewPr>
  <p:slideViewPr>
    <p:cSldViewPr showGuides="1">
      <p:cViewPr varScale="1">
        <p:scale>
          <a:sx n="124" d="100"/>
          <a:sy n="124" d="100"/>
        </p:scale>
        <p:origin x="427" y="10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ang Li" userId="9467cdd0-9ca9-4b26-9916-7c92315fd35f" providerId="ADAL" clId="{62DBAD87-2F08-42A6-B650-D36872CDC967}"/>
    <pc:docChg chg="undo redo custSel addSld delSld modSld">
      <pc:chgData name="Liang Li" userId="9467cdd0-9ca9-4b26-9916-7c92315fd35f" providerId="ADAL" clId="{62DBAD87-2F08-42A6-B650-D36872CDC967}" dt="2025-03-07T17:47:38.398" v="39" actId="1076"/>
      <pc:docMkLst>
        <pc:docMk/>
      </pc:docMkLst>
      <pc:sldChg chg="add">
        <pc:chgData name="Liang Li" userId="9467cdd0-9ca9-4b26-9916-7c92315fd35f" providerId="ADAL" clId="{62DBAD87-2F08-42A6-B650-D36872CDC967}" dt="2025-03-07T17:45:15.724" v="22"/>
        <pc:sldMkLst>
          <pc:docMk/>
          <pc:sldMk cId="3194245548" sldId="256"/>
        </pc:sldMkLst>
      </pc:sldChg>
      <pc:sldChg chg="add">
        <pc:chgData name="Liang Li" userId="9467cdd0-9ca9-4b26-9916-7c92315fd35f" providerId="ADAL" clId="{62DBAD87-2F08-42A6-B650-D36872CDC967}" dt="2025-03-07T17:45:24.660" v="24"/>
        <pc:sldMkLst>
          <pc:docMk/>
          <pc:sldMk cId="1438913814" sldId="264"/>
        </pc:sldMkLst>
      </pc:sldChg>
      <pc:sldChg chg="addSp modSp add del mod">
        <pc:chgData name="Liang Li" userId="9467cdd0-9ca9-4b26-9916-7c92315fd35f" providerId="ADAL" clId="{62DBAD87-2F08-42A6-B650-D36872CDC967}" dt="2025-03-07T17:47:25.954" v="36" actId="47"/>
        <pc:sldMkLst>
          <pc:docMk/>
          <pc:sldMk cId="189458445" sldId="267"/>
        </pc:sldMkLst>
        <pc:graphicFrameChg chg="mod modGraphic">
          <ac:chgData name="Liang Li" userId="9467cdd0-9ca9-4b26-9916-7c92315fd35f" providerId="ADAL" clId="{62DBAD87-2F08-42A6-B650-D36872CDC967}" dt="2025-03-07T17:46:51.409" v="32" actId="27180"/>
          <ac:graphicFrameMkLst>
            <pc:docMk/>
            <pc:sldMk cId="189458445" sldId="267"/>
            <ac:graphicFrameMk id="6" creationId="{BB4B8769-A2CC-A5DB-E141-A1459889F1E0}"/>
          </ac:graphicFrameMkLst>
        </pc:graphicFrameChg>
        <pc:graphicFrameChg chg="add mod">
          <ac:chgData name="Liang Li" userId="9467cdd0-9ca9-4b26-9916-7c92315fd35f" providerId="ADAL" clId="{62DBAD87-2F08-42A6-B650-D36872CDC967}" dt="2025-03-07T17:45:56.602" v="27"/>
          <ac:graphicFrameMkLst>
            <pc:docMk/>
            <pc:sldMk cId="189458445" sldId="267"/>
            <ac:graphicFrameMk id="9" creationId="{2B5AE0BC-0154-1AA8-8EE4-AB2A16769503}"/>
          </ac:graphicFrameMkLst>
        </pc:graphicFrameChg>
      </pc:sldChg>
      <pc:sldChg chg="addSp modSp new mod">
        <pc:chgData name="Liang Li" userId="9467cdd0-9ca9-4b26-9916-7c92315fd35f" providerId="ADAL" clId="{62DBAD87-2F08-42A6-B650-D36872CDC967}" dt="2025-03-07T17:47:38.398" v="39" actId="1076"/>
        <pc:sldMkLst>
          <pc:docMk/>
          <pc:sldMk cId="2845563508" sldId="292"/>
        </pc:sldMkLst>
        <pc:picChg chg="add mod">
          <ac:chgData name="Liang Li" userId="9467cdd0-9ca9-4b26-9916-7c92315fd35f" providerId="ADAL" clId="{62DBAD87-2F08-42A6-B650-D36872CDC967}" dt="2025-03-07T17:47:38.398" v="39" actId="1076"/>
          <ac:picMkLst>
            <pc:docMk/>
            <pc:sldMk cId="2845563508" sldId="292"/>
            <ac:picMk id="8" creationId="{D8F49FC1-BFFA-E03C-F165-3ACD4FD30B07}"/>
          </ac:picMkLst>
        </pc:picChg>
        <pc:picChg chg="add mod">
          <ac:chgData name="Liang Li" userId="9467cdd0-9ca9-4b26-9916-7c92315fd35f" providerId="ADAL" clId="{62DBAD87-2F08-42A6-B650-D36872CDC967}" dt="2025-03-07T17:47:36.736" v="38" actId="1076"/>
          <ac:picMkLst>
            <pc:docMk/>
            <pc:sldMk cId="2845563508" sldId="292"/>
            <ac:picMk id="9" creationId="{08811C7A-AA12-B7CD-4C27-72C937D8056D}"/>
          </ac:picMkLst>
        </pc:picChg>
      </pc:sldChg>
      <pc:sldChg chg="delSp modSp del mod">
        <pc:chgData name="Liang Li" userId="9467cdd0-9ca9-4b26-9916-7c92315fd35f" providerId="ADAL" clId="{62DBAD87-2F08-42A6-B650-D36872CDC967}" dt="2025-03-07T17:45:17.321" v="23" actId="47"/>
        <pc:sldMkLst>
          <pc:docMk/>
          <pc:sldMk cId="112599134" sldId="295"/>
        </pc:sldMkLst>
        <pc:spChg chg="mod">
          <ac:chgData name="Liang Li" userId="9467cdd0-9ca9-4b26-9916-7c92315fd35f" providerId="ADAL" clId="{62DBAD87-2F08-42A6-B650-D36872CDC967}" dt="2025-03-07T01:18:07.129" v="12" actId="20577"/>
          <ac:spMkLst>
            <pc:docMk/>
            <pc:sldMk cId="112599134" sldId="295"/>
            <ac:spMk id="2" creationId="{078BDC45-E43D-F262-BEFB-A25D4E635772}"/>
          </ac:spMkLst>
        </pc:spChg>
        <pc:spChg chg="del">
          <ac:chgData name="Liang Li" userId="9467cdd0-9ca9-4b26-9916-7c92315fd35f" providerId="ADAL" clId="{62DBAD87-2F08-42A6-B650-D36872CDC967}" dt="2025-03-07T01:17:41.492" v="0" actId="478"/>
          <ac:spMkLst>
            <pc:docMk/>
            <pc:sldMk cId="112599134" sldId="295"/>
            <ac:spMk id="5" creationId="{EF39CA04-15E2-4EA1-BC06-208124904FF1}"/>
          </ac:spMkLst>
        </pc:spChg>
      </pc:sldChg>
      <pc:sldChg chg="del">
        <pc:chgData name="Liang Li" userId="9467cdd0-9ca9-4b26-9916-7c92315fd35f" providerId="ADAL" clId="{62DBAD87-2F08-42A6-B650-D36872CDC967}" dt="2025-03-07T17:45:03.741" v="19" actId="47"/>
        <pc:sldMkLst>
          <pc:docMk/>
          <pc:sldMk cId="3586926616" sldId="296"/>
        </pc:sldMkLst>
      </pc:sldChg>
      <pc:sldChg chg="del">
        <pc:chgData name="Liang Li" userId="9467cdd0-9ca9-4b26-9916-7c92315fd35f" providerId="ADAL" clId="{62DBAD87-2F08-42A6-B650-D36872CDC967}" dt="2025-03-07T17:45:01.774" v="14" actId="47"/>
        <pc:sldMkLst>
          <pc:docMk/>
          <pc:sldMk cId="2821734093" sldId="298"/>
        </pc:sldMkLst>
      </pc:sldChg>
      <pc:sldChg chg="del">
        <pc:chgData name="Liang Li" userId="9467cdd0-9ca9-4b26-9916-7c92315fd35f" providerId="ADAL" clId="{62DBAD87-2F08-42A6-B650-D36872CDC967}" dt="2025-03-07T17:45:01.475" v="13" actId="47"/>
        <pc:sldMkLst>
          <pc:docMk/>
          <pc:sldMk cId="4249533448" sldId="299"/>
        </pc:sldMkLst>
      </pc:sldChg>
      <pc:sldChg chg="del">
        <pc:chgData name="Liang Li" userId="9467cdd0-9ca9-4b26-9916-7c92315fd35f" providerId="ADAL" clId="{62DBAD87-2F08-42A6-B650-D36872CDC967}" dt="2025-03-07T17:45:02.106" v="15" actId="47"/>
        <pc:sldMkLst>
          <pc:docMk/>
          <pc:sldMk cId="92394313" sldId="301"/>
        </pc:sldMkLst>
      </pc:sldChg>
      <pc:sldChg chg="del">
        <pc:chgData name="Liang Li" userId="9467cdd0-9ca9-4b26-9916-7c92315fd35f" providerId="ADAL" clId="{62DBAD87-2F08-42A6-B650-D36872CDC967}" dt="2025-03-07T17:45:02.538" v="16" actId="47"/>
        <pc:sldMkLst>
          <pc:docMk/>
          <pc:sldMk cId="3825015337" sldId="303"/>
        </pc:sldMkLst>
      </pc:sldChg>
      <pc:sldChg chg="del">
        <pc:chgData name="Liang Li" userId="9467cdd0-9ca9-4b26-9916-7c92315fd35f" providerId="ADAL" clId="{62DBAD87-2F08-42A6-B650-D36872CDC967}" dt="2025-03-07T17:45:02.806" v="17" actId="47"/>
        <pc:sldMkLst>
          <pc:docMk/>
          <pc:sldMk cId="1016950295" sldId="304"/>
        </pc:sldMkLst>
      </pc:sldChg>
      <pc:sldChg chg="del">
        <pc:chgData name="Liang Li" userId="9467cdd0-9ca9-4b26-9916-7c92315fd35f" providerId="ADAL" clId="{62DBAD87-2F08-42A6-B650-D36872CDC967}" dt="2025-03-07T17:45:06.023" v="21" actId="47"/>
        <pc:sldMkLst>
          <pc:docMk/>
          <pc:sldMk cId="1637402124" sldId="306"/>
        </pc:sldMkLst>
      </pc:sldChg>
      <pc:sldChg chg="del">
        <pc:chgData name="Liang Li" userId="9467cdd0-9ca9-4b26-9916-7c92315fd35f" providerId="ADAL" clId="{62DBAD87-2F08-42A6-B650-D36872CDC967}" dt="2025-03-07T17:45:03.115" v="18" actId="47"/>
        <pc:sldMkLst>
          <pc:docMk/>
          <pc:sldMk cId="2450826635" sldId="307"/>
        </pc:sldMkLst>
      </pc:sldChg>
      <pc:sldChg chg="del">
        <pc:chgData name="Liang Li" userId="9467cdd0-9ca9-4b26-9916-7c92315fd35f" providerId="ADAL" clId="{62DBAD87-2F08-42A6-B650-D36872CDC967}" dt="2025-03-07T17:45:04.424" v="20" actId="47"/>
        <pc:sldMkLst>
          <pc:docMk/>
          <pc:sldMk cId="1421635936" sldId="30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March 7, 2025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March 7, 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count to actual distance.</a:t>
            </a:r>
          </a:p>
          <a:p>
            <a:r>
              <a:rPr lang="en-US"/>
              <a:t>The terminating distance may need to be tested.</a:t>
            </a:r>
          </a:p>
          <a:p>
            <a:r>
              <a:rPr lang="en-US"/>
              <a:t>Change forward flow to Tru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3ED625-A450-4337-84C5-80E136EFE9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561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March 7, 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March 7, 2025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March 7, 2025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20.png"/><Relationship Id="rId21" Type="http://schemas.openxmlformats.org/officeDocument/2006/relationships/tags" Target="../tags/tag31.xml"/><Relationship Id="rId34" Type="http://schemas.openxmlformats.org/officeDocument/2006/relationships/image" Target="../media/image6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120.xml"/><Relationship Id="rId33" Type="http://schemas.openxmlformats.org/officeDocument/2006/relationships/tags" Target="../tags/tag190.xml"/><Relationship Id="rId38" Type="http://schemas.openxmlformats.org/officeDocument/2006/relationships/image" Target="../media/image8.pn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140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10.png"/><Relationship Id="rId32" Type="http://schemas.openxmlformats.org/officeDocument/2006/relationships/image" Target="../media/image5.png"/><Relationship Id="rId37" Type="http://schemas.openxmlformats.org/officeDocument/2006/relationships/tags" Target="../tags/tag260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notesSlide" Target="../notesSlides/notesSlide1.xml"/><Relationship Id="rId28" Type="http://schemas.openxmlformats.org/officeDocument/2006/relationships/image" Target="../media/image3.png"/><Relationship Id="rId36" Type="http://schemas.openxmlformats.org/officeDocument/2006/relationships/image" Target="../media/image7.pn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18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slideLayout" Target="../slideLayouts/slideLayout2.xml"/><Relationship Id="rId27" Type="http://schemas.openxmlformats.org/officeDocument/2006/relationships/tags" Target="../tags/tag130.xml"/><Relationship Id="rId30" Type="http://schemas.openxmlformats.org/officeDocument/2006/relationships/image" Target="../media/image4.png"/><Relationship Id="rId35" Type="http://schemas.openxmlformats.org/officeDocument/2006/relationships/tags" Target="../tags/tag200.xml"/><Relationship Id="rId8" Type="http://schemas.openxmlformats.org/officeDocument/2006/relationships/tags" Target="../tags/tag18.xml"/><Relationship Id="rId3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5FDA456-FE85-E8A0-D2F8-7F8E7D9D2B1B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7C2465-2A6D-6F00-17D4-C9E4C5E35C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05325" y="1873139"/>
            <a:ext cx="5849475" cy="1403461"/>
          </a:xfrm>
        </p:spPr>
        <p:txBody>
          <a:bodyPr/>
          <a:lstStyle/>
          <a:p>
            <a:r>
              <a:rPr lang="en-US" dirty="0"/>
              <a:t>ACPD – CA Search Function, Local Autofocus Throughput Improvemen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455D91E-2E57-311A-BF6B-D05EBE534A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B06C82-1608-42E8-B2A2-CBB86730CCB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775A66E-4D78-4BAA-996C-0D483399BB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099F592-4F0A-4515-8641-C8C9CC078BA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6A6BDBB-36A8-40D1-A394-667FB271780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4245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466CD3-7EDD-5916-A361-0C49D8FB9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1B369-EA07-BF6E-3FD1-B024928D3B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2D4B63-0302-EB64-C146-5714210168F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C3B032-4E9B-2CCB-15B9-82B06AB995F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81A0B8-FBD5-5C98-5E9C-AB7C29E447B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F49FC1-BFFA-E03C-F165-3ACD4FD30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1272" y="3352503"/>
            <a:ext cx="6096528" cy="342929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266CA12-2311-4084-AE57-90DC8D91BEC4}"/>
              </a:ext>
            </a:extLst>
          </p:cNvPr>
          <p:cNvSpPr/>
          <p:nvPr/>
        </p:nvSpPr>
        <p:spPr>
          <a:xfrm>
            <a:off x="2971272" y="3336015"/>
            <a:ext cx="6096528" cy="614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4D8547-543A-4DEB-A618-F46EACDFD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1272" y="-93282"/>
            <a:ext cx="6096528" cy="342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563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691CD8F6-F1C1-DF53-FA5E-66CE9C9CBB1D}"/>
                  </a:ext>
                </a:extLst>
              </p:cNvPr>
              <p:cNvSpPr txBox="1"/>
              <p:nvPr/>
            </p:nvSpPr>
            <p:spPr>
              <a:xfrm>
                <a:off x="236017" y="512177"/>
                <a:ext cx="2709720" cy="316355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sz="1200"/>
                  <a:t>*1: if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1200"/>
                  <a:t> and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</m:s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1200"/>
                  <a:t> are strictly orthogonal, </a:t>
                </a:r>
              </a:p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2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sz="1200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en-US" sz="1200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</m:num>
                      <m:den>
                        <m:sSubSup>
                          <m:sSubSup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  <m:sup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  <m:sup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den>
                    </m:f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𝑙𝑟</m:t>
                    </m:r>
                  </m:oMath>
                </a14:m>
                <a:r>
                  <a:rPr lang="en-US" sz="1200"/>
                  <a:t>,</a:t>
                </a:r>
              </a:p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14:m>
                  <m:oMath xmlns:m="http://schemas.openxmlformats.org/officeDocument/2006/math">
                    <m:r>
                      <a:rPr lang="en-US" sz="1200" i="1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2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200" i="1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en-US" sz="12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−</m:t>
                    </m:r>
                    <m:f>
                      <m:fPr>
                        <m:ctrlPr>
                          <a:rPr lang="en-US" sz="12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sz="1200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</m:sSub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en-US" sz="1200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  <m:sSub>
                          <m:sSub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</m:sSub>
                      </m:num>
                      <m:den>
                        <m:sSubSup>
                          <m:sSubSup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  <m:sup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en-US" sz="12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  <m:sup>
                            <m:r>
                              <a:rPr lang="en-US" sz="12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den>
                    </m:f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𝑙𝑟</m:t>
                    </m:r>
                  </m:oMath>
                </a14:m>
                <a:r>
                  <a:rPr lang="en-US" sz="1200"/>
                  <a:t>.</a:t>
                </a:r>
              </a:p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sz="1200"/>
                  <a:t>*2: </a:t>
                </a:r>
                <a14:m>
                  <m:oMath xmlns:m="http://schemas.openxmlformats.org/officeDocument/2006/math">
                    <m:r>
                      <a:rPr lang="en-US" sz="1200" b="0" i="1" smtClean="0">
                        <a:latin typeface="Cambria Math" panose="02040503050406030204" pitchFamily="18" charset="0"/>
                      </a:rPr>
                      <m:t>𝑙𝑟</m:t>
                    </m:r>
                  </m:oMath>
                </a14:m>
                <a:r>
                  <a:rPr lang="en-US" sz="1200"/>
                  <a:t> is the update ratio. It is set by user </a:t>
                </a:r>
                <a:r>
                  <a:rPr lang="en-US" sz="1200" b="1">
                    <a:solidFill>
                      <a:srgbClr val="FF0000"/>
                    </a:solidFill>
                    <a:highlight>
                      <a:srgbClr val="FFFF00"/>
                    </a:highlight>
                  </a:rPr>
                  <a:t>or</a:t>
                </a:r>
                <a:r>
                  <a:rPr lang="en-US" sz="1200"/>
                  <a:t> May set dynamic adjustment when the CA compensation is too much than needed.</a:t>
                </a:r>
              </a:p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sz="1400"/>
                  <a:t>*3: </a:t>
                </a:r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𝑙𝑖𝑚𝑖𝑡</m:t>
                    </m:r>
                  </m:oMath>
                </a14:m>
                <a:r>
                  <a:rPr lang="en-US" sz="1400"/>
                  <a:t> is a user defined parameter, one example is the minimal count CA can move, which is one.</a:t>
                </a:r>
              </a:p>
              <a:p>
                <a:pPr>
                  <a:lnSpc>
                    <a:spcPct val="95000"/>
                  </a:lnSpc>
                  <a:spcAft>
                    <a:spcPts val="737"/>
                  </a:spcAft>
                </a:pPr>
                <a:r>
                  <a:rPr lang="en-US" sz="1400"/>
                  <a:t>Credit @ Zongyao Li</a:t>
                </a:r>
              </a:p>
            </p:txBody>
          </p:sp>
        </mc:Choice>
        <mc:Fallback xmlns=""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691CD8F6-F1C1-DF53-FA5E-66CE9C9CBB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017" y="512177"/>
                <a:ext cx="2709720" cy="3163558"/>
              </a:xfrm>
              <a:prstGeom prst="rect">
                <a:avLst/>
              </a:prstGeom>
              <a:blipFill>
                <a:blip r:embed="rId24"/>
                <a:stretch>
                  <a:fillRect l="-4054" t="-1541" r="-3604" b="-2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622B26D0-6524-7EB9-0700-D4F27A5DB31B}"/>
              </a:ext>
            </a:extLst>
          </p:cNvPr>
          <p:cNvCxnSpPr>
            <a:stCxn id="25" idx="3"/>
            <a:endCxn id="24" idx="1"/>
          </p:cNvCxnSpPr>
          <p:nvPr/>
        </p:nvCxnSpPr>
        <p:spPr>
          <a:xfrm flipV="1">
            <a:off x="6534646" y="3853415"/>
            <a:ext cx="690269" cy="722524"/>
          </a:xfrm>
          <a:prstGeom prst="bentConnector3">
            <a:avLst>
              <a:gd name="adj1" fmla="val 65092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8529624-C30E-802E-E037-06C66D0B61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106095" y="1143178"/>
            <a:ext cx="1921164" cy="526473"/>
          </a:xfrm>
          <a:prstGeom prst="roundRect">
            <a:avLst/>
          </a:prstGeom>
          <a:solidFill>
            <a:schemeClr val="tx2">
              <a:alpha val="54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Wobble O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A9F707A-A22E-9E4A-B3EC-E9A48F7DE2FB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3376352" y="1832541"/>
                <a:ext cx="3380650" cy="618835"/>
              </a:xfrm>
              <a:prstGeom prst="roundRect">
                <a:avLst/>
              </a:prstGeom>
              <a:solidFill>
                <a:srgbClr val="10069F">
                  <a:alpha val="54000"/>
                </a:srgb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Collect Im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/>
                  <a:t> and Measure wobble vector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</m:d>
                  </m:oMath>
                </a14:m>
                <a:r>
                  <a:rPr lang="en-US"/>
                  <a:t>, reset OL</a:t>
                </a:r>
              </a:p>
            </p:txBody>
          </p:sp>
        </mc:Choice>
        <mc:Fallback xmlns=""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DA9F707A-A22E-9E4A-B3EC-E9A48F7DE2F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25"/>
                </p:custDataLst>
              </p:nvPr>
            </p:nvSpPr>
            <p:spPr>
              <a:xfrm>
                <a:off x="3376352" y="1832541"/>
                <a:ext cx="3380650" cy="618835"/>
              </a:xfrm>
              <a:prstGeom prst="roundRect">
                <a:avLst/>
              </a:prstGeom>
              <a:blipFill>
                <a:blip r:embed="rId26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CDAAC373-49FE-4259-F3BE-1942F82067F5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4106095" y="392768"/>
                <a:ext cx="1921164" cy="526473"/>
              </a:xfrm>
              <a:prstGeom prst="roundRect">
                <a:avLst/>
              </a:prstGeom>
              <a:solidFill>
                <a:schemeClr val="accent1">
                  <a:alpha val="54000"/>
                </a:scheme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Collect Imag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endParaRPr lang="en-US"/>
              </a:p>
            </p:txBody>
          </p:sp>
        </mc:Choice>
        <mc:Fallback xmlns=""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CDAAC373-49FE-4259-F3BE-1942F82067F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27"/>
                </p:custDataLst>
              </p:nvPr>
            </p:nvSpPr>
            <p:spPr>
              <a:xfrm>
                <a:off x="4106095" y="392768"/>
                <a:ext cx="1921164" cy="526473"/>
              </a:xfrm>
              <a:prstGeom prst="roundRect">
                <a:avLst/>
              </a:prstGeom>
              <a:blipFill>
                <a:blip r:embed="rId2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37EF9E6-62D4-8CF9-0E5A-11273DEE0C52}"/>
              </a:ext>
            </a:extLst>
          </p:cNvPr>
          <p:cNvCxnSpPr>
            <a:stCxn id="10" idx="2"/>
            <a:endCxn id="5" idx="0"/>
          </p:cNvCxnSpPr>
          <p:nvPr/>
        </p:nvCxnSpPr>
        <p:spPr>
          <a:xfrm>
            <a:off x="5066677" y="919241"/>
            <a:ext cx="0" cy="22393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FBE2845-AE26-BFCF-A959-EF5D0DBCB6F8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5066677" y="1669651"/>
            <a:ext cx="0" cy="1628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18A1A431-1714-FCE7-23A0-B2FD397E5D80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>
                <a:off x="4106095" y="5379591"/>
                <a:ext cx="1921164" cy="526473"/>
              </a:xfrm>
              <a:prstGeom prst="roundRect">
                <a:avLst/>
              </a:prstGeom>
              <a:solidFill>
                <a:schemeClr val="tx2">
                  <a:alpha val="54000"/>
                </a:scheme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/>
                  <a:t>Move CA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sz="1400" i="1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400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𝛿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4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</m:oMath>
                </a14:m>
                <a:r>
                  <a:rPr lang="en-US" sz="1400"/>
                  <a:t> and wobble OL</a:t>
                </a:r>
              </a:p>
            </p:txBody>
          </p:sp>
        </mc:Choice>
        <mc:Fallback xmlns=""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18A1A431-1714-FCE7-23A0-B2FD397E5D8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29"/>
                </p:custDataLst>
              </p:nvPr>
            </p:nvSpPr>
            <p:spPr>
              <a:xfrm>
                <a:off x="4106095" y="5379591"/>
                <a:ext cx="1921164" cy="526473"/>
              </a:xfrm>
              <a:prstGeom prst="roundRect">
                <a:avLst/>
              </a:prstGeom>
              <a:blipFill>
                <a:blip r:embed="rId30"/>
                <a:stretch>
                  <a:fillRect t="-1111"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Flowchart: Decision 24">
            <a:extLst>
              <a:ext uri="{FF2B5EF4-FFF2-40B4-BE49-F238E27FC236}">
                <a16:creationId xmlns:a16="http://schemas.microsoft.com/office/drawing/2014/main" id="{97AFE978-8104-BB49-9DC6-0DBF243F4D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98708" y="4006270"/>
            <a:ext cx="2935938" cy="1139338"/>
          </a:xfrm>
          <a:prstGeom prst="flowChartDecision">
            <a:avLst/>
          </a:prstGeom>
          <a:solidFill>
            <a:srgbClr val="FFC000">
              <a:alpha val="98000"/>
            </a:srgb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0">
                <a:solidFill>
                  <a:sysClr val="windowText" lastClr="000000"/>
                </a:solidFill>
              </a:rPr>
              <a:t>? Wobble vector direction changed</a:t>
            </a:r>
            <a:endParaRPr lang="en-US" sz="1400">
              <a:solidFill>
                <a:sysClr val="windowText" lastClr="000000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0683A81-0A3D-2C6B-0AEB-BCF5D753111C}"/>
              </a:ext>
            </a:extLst>
          </p:cNvPr>
          <p:cNvCxnSpPr>
            <a:cxnSpLocks/>
            <a:stCxn id="171" idx="2"/>
            <a:endCxn id="25" idx="0"/>
          </p:cNvCxnSpPr>
          <p:nvPr/>
        </p:nvCxnSpPr>
        <p:spPr>
          <a:xfrm flipH="1">
            <a:off x="5066677" y="3765539"/>
            <a:ext cx="515" cy="2407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A4D3D5E-0100-BF9D-BBF0-6EA639D0850A}"/>
              </a:ext>
            </a:extLst>
          </p:cNvPr>
          <p:cNvCxnSpPr>
            <a:cxnSpLocks/>
            <a:stCxn id="25" idx="2"/>
            <a:endCxn id="4" idx="0"/>
          </p:cNvCxnSpPr>
          <p:nvPr/>
        </p:nvCxnSpPr>
        <p:spPr>
          <a:xfrm>
            <a:off x="5066677" y="5145608"/>
            <a:ext cx="0" cy="23398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7DC9351-A3F5-404F-D023-FC4D0A4B163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184488" y="5120331"/>
            <a:ext cx="16637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Tru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F612377-A2D3-29F5-B6E1-663BE1B835F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395253" y="4276695"/>
            <a:ext cx="723497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False</a:t>
            </a: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13896F4A-7644-D5FD-AD7F-E5DC2DA284E6}"/>
              </a:ext>
            </a:extLst>
          </p:cNvPr>
          <p:cNvCxnSpPr>
            <a:cxnSpLocks/>
            <a:stCxn id="4" idx="2"/>
            <a:endCxn id="9" idx="0"/>
          </p:cNvCxnSpPr>
          <p:nvPr/>
        </p:nvCxnSpPr>
        <p:spPr>
          <a:xfrm rot="5400000" flipH="1" flipV="1">
            <a:off x="4419369" y="985866"/>
            <a:ext cx="5567506" cy="4272890"/>
          </a:xfrm>
          <a:prstGeom prst="bentConnector5">
            <a:avLst>
              <a:gd name="adj1" fmla="val -1195"/>
              <a:gd name="adj2" fmla="val 47166"/>
              <a:gd name="adj3" fmla="val 104106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49818D3B-E635-A959-45B0-B9100B899D6E}"/>
              </a:ext>
            </a:extLst>
          </p:cNvPr>
          <p:cNvCxnSpPr>
            <a:cxnSpLocks/>
            <a:stCxn id="194" idx="1"/>
            <a:endCxn id="10" idx="0"/>
          </p:cNvCxnSpPr>
          <p:nvPr/>
        </p:nvCxnSpPr>
        <p:spPr>
          <a:xfrm rot="10800000">
            <a:off x="5066678" y="392768"/>
            <a:ext cx="3127191" cy="6010392"/>
          </a:xfrm>
          <a:prstGeom prst="bentConnector4">
            <a:avLst>
              <a:gd name="adj1" fmla="val 160943"/>
              <a:gd name="adj2" fmla="val 103803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5492E69D-658C-4DBD-A390-0157F3588BDF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7534942" y="338558"/>
                <a:ext cx="3609250" cy="771310"/>
              </a:xfrm>
              <a:prstGeom prst="roundRect">
                <a:avLst/>
              </a:prstGeom>
              <a:solidFill>
                <a:srgbClr val="10069F">
                  <a:alpha val="54000"/>
                </a:srgb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/>
                  <a:t>Collect Images and Measure wobble vector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/>
                  <a:t> and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</m:sub>
                        </m:sSub>
                      </m:e>
                    </m:d>
                  </m:oMath>
                </a14:m>
                <a:endParaRPr lang="en-US"/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5492E69D-658C-4DBD-A390-0157F3588BD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1"/>
                </p:custDataLst>
              </p:nvPr>
            </p:nvSpPr>
            <p:spPr>
              <a:xfrm>
                <a:off x="7534942" y="338558"/>
                <a:ext cx="3609250" cy="771310"/>
              </a:xfrm>
              <a:prstGeom prst="roundRect">
                <a:avLst/>
              </a:prstGeom>
              <a:blipFill>
                <a:blip r:embed="rId32"/>
                <a:stretch>
                  <a:fillRect r="-5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09100A67-52EA-12E7-9303-22F31F3835D6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7224916" y="1320402"/>
                <a:ext cx="4229305" cy="1604968"/>
              </a:xfrm>
              <a:prstGeom prst="roundRect">
                <a:avLst/>
              </a:prstGeom>
              <a:solidFill>
                <a:srgbClr val="FF0000">
                  <a:alpha val="54000"/>
                </a:srgb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/>
                  <a:t>Calculate the effect of CA move on OL wobble vector as</a:t>
                </a:r>
                <a:r>
                  <a:rPr lang="en-US" baseline="30000"/>
                  <a:t>*1</a:t>
                </a:r>
                <a:r>
                  <a:rPr lang="en-US"/>
                  <a:t>:</a:t>
                </a:r>
              </a:p>
              <a:p>
                <a:pPr algn="ctr"/>
                <a:r>
                  <a:rPr lang="en-US"/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sub>
                            </m:sSub>
                          </m:den>
                        </m:f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𝑌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sub>
                            </m:sSub>
                          </m:den>
                        </m:f>
                      </m:e>
                    </m:d>
                  </m:oMath>
                </a14:m>
                <a:r>
                  <a:rPr lang="en-US" b="0" i="1">
                    <a:latin typeface="Cambria Math" panose="02040503050406030204" pitchFamily="18" charset="0"/>
                  </a:rPr>
                  <a:t> ,</a:t>
                </a:r>
              </a:p>
              <a:p>
                <a:pPr algn="ctr"/>
                <a14:m>
                  <m:oMath xmlns:m="http://schemas.openxmlformats.org/officeDocument/2006/math"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</m:t>
                            </m:r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sub>
                        </m:sSub>
                      </m:e>
                    </m:d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𝑋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sub>
                            </m:sSub>
                          </m:den>
                        </m:f>
                        <m:r>
                          <a:rPr lang="en-US" i="1">
                            <a:latin typeface="Cambria Math" panose="02040503050406030204" pitchFamily="18" charset="0"/>
                          </a:rPr>
                          <m:t>,</m:t>
                        </m:r>
                        <m:f>
                          <m:f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Δ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𝑌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𝛿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𝐴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𝑦</m:t>
                                </m:r>
                              </m:sub>
                            </m:sSub>
                          </m:den>
                        </m:f>
                      </m:e>
                    </m:d>
                  </m:oMath>
                </a14:m>
                <a:r>
                  <a:rPr lang="en-US"/>
                  <a:t>. </a:t>
                </a:r>
              </a:p>
            </p:txBody>
          </p:sp>
        </mc:Choice>
        <mc:Fallback xmlns=""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09100A67-52EA-12E7-9303-22F31F3835D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3"/>
                </p:custDataLst>
              </p:nvPr>
            </p:nvSpPr>
            <p:spPr>
              <a:xfrm>
                <a:off x="7224916" y="1320402"/>
                <a:ext cx="4229305" cy="1604968"/>
              </a:xfrm>
              <a:prstGeom prst="round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5DDC20DF-E015-02EA-2AC8-3D64A061CB53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7224915" y="3135447"/>
                <a:ext cx="4229305" cy="1435935"/>
              </a:xfrm>
              <a:prstGeom prst="roundRect">
                <a:avLst/>
              </a:prstGeom>
              <a:solidFill>
                <a:srgbClr val="FF0000">
                  <a:alpha val="54000"/>
                </a:srgb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/>
                  <a:t>Calculate CA compensation as</a:t>
                </a:r>
                <a:r>
                  <a:rPr lang="en-US" baseline="30000"/>
                  <a:t>*2</a:t>
                </a:r>
                <a:r>
                  <a:rPr lang="en-US"/>
                  <a:t>: 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𝑈𝑝𝑑𝑎𝑡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</m:sSub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𝑙𝑟</m:t>
                    </m:r>
                  </m:oMath>
                </a14:m>
                <a:r>
                  <a:rPr lang="en-US"/>
                  <a:t>,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𝑈𝑝𝑑𝑎𝑡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−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𝑋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𝑌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𝑥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𝑦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𝑦𝑦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𝑥</m:t>
                            </m:r>
                          </m:sub>
                        </m:sSub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𝑙𝑟</m:t>
                    </m:r>
                  </m:oMath>
                </a14:m>
                <a:r>
                  <a:rPr lang="en-US"/>
                  <a:t>.</a:t>
                </a:r>
              </a:p>
            </p:txBody>
          </p:sp>
        </mc:Choice>
        <mc:Fallback xmlns=""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5DDC20DF-E015-02EA-2AC8-3D64A061CB5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5"/>
                </p:custDataLst>
              </p:nvPr>
            </p:nvSpPr>
            <p:spPr>
              <a:xfrm>
                <a:off x="7224915" y="3135447"/>
                <a:ext cx="4229305" cy="1435935"/>
              </a:xfrm>
              <a:prstGeom prst="roundRect">
                <a:avLst/>
              </a:prstGeom>
              <a:blipFill>
                <a:blip r:embed="rId3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121FD555-6109-5803-1051-7774E05542D6}"/>
              </a:ext>
            </a:extLst>
          </p:cNvPr>
          <p:cNvCxnSpPr>
            <a:cxnSpLocks/>
            <a:stCxn id="9" idx="2"/>
            <a:endCxn id="18" idx="0"/>
          </p:cNvCxnSpPr>
          <p:nvPr/>
        </p:nvCxnSpPr>
        <p:spPr>
          <a:xfrm>
            <a:off x="9339567" y="1109868"/>
            <a:ext cx="2" cy="2105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617B2E7C-F93E-C78E-E2D7-50EF2BB13011}"/>
              </a:ext>
            </a:extLst>
          </p:cNvPr>
          <p:cNvCxnSpPr>
            <a:cxnSpLocks/>
            <a:stCxn id="18" idx="2"/>
            <a:endCxn id="24" idx="0"/>
          </p:cNvCxnSpPr>
          <p:nvPr/>
        </p:nvCxnSpPr>
        <p:spPr>
          <a:xfrm flipH="1">
            <a:off x="9339568" y="2925370"/>
            <a:ext cx="1" cy="21007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4ACF1A24-E67F-33FD-CA82-CC90D94A4ACE}"/>
              </a:ext>
            </a:extLst>
          </p:cNvPr>
          <p:cNvCxnSpPr>
            <a:cxnSpLocks/>
            <a:stCxn id="24" idx="2"/>
            <a:endCxn id="182" idx="0"/>
          </p:cNvCxnSpPr>
          <p:nvPr/>
        </p:nvCxnSpPr>
        <p:spPr>
          <a:xfrm flipH="1">
            <a:off x="9338616" y="4571382"/>
            <a:ext cx="952" cy="1961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0CF0CDAD-2EF1-809D-1A90-7630A7F3342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728652" y="5873001"/>
            <a:ext cx="723497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False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BEE17BEF-A830-9321-1A6B-FD806EBA90E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557255" y="5029511"/>
            <a:ext cx="586937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True</a:t>
            </a: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0CF63B0A-2F0B-C46E-FA6D-A5F509690AA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1127808" y="5048732"/>
            <a:ext cx="876648" cy="526473"/>
          </a:xfrm>
          <a:prstGeom prst="roundRect">
            <a:avLst/>
          </a:prstGeom>
          <a:solidFill>
            <a:srgbClr val="43B02A">
              <a:alpha val="54000"/>
            </a:srgb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END</a:t>
            </a: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D0B0EC45-B41C-C1F9-A84E-D0D68E7B085A}"/>
              </a:ext>
            </a:extLst>
          </p:cNvPr>
          <p:cNvCxnSpPr>
            <a:cxnSpLocks/>
            <a:stCxn id="182" idx="3"/>
            <a:endCxn id="118" idx="1"/>
          </p:cNvCxnSpPr>
          <p:nvPr/>
        </p:nvCxnSpPr>
        <p:spPr>
          <a:xfrm flipV="1">
            <a:off x="10627773" y="5311969"/>
            <a:ext cx="500035" cy="5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1" name="Flowchart: Decision 170">
            <a:extLst>
              <a:ext uri="{FF2B5EF4-FFF2-40B4-BE49-F238E27FC236}">
                <a16:creationId xmlns:a16="http://schemas.microsoft.com/office/drawing/2014/main" id="{5794D813-FB4F-003F-427E-91EF88EFDB4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657492" y="2685070"/>
            <a:ext cx="2819399" cy="1080469"/>
          </a:xfrm>
          <a:prstGeom prst="flowChartDecision">
            <a:avLst/>
          </a:prstGeom>
          <a:solidFill>
            <a:srgbClr val="FFC000">
              <a:alpha val="98000"/>
            </a:srgb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0">
                <a:solidFill>
                  <a:sysClr val="windowText" lastClr="000000"/>
                </a:solidFill>
              </a:rPr>
              <a:t>? Wobble vector </a:t>
            </a:r>
            <a:r>
              <a:rPr lang="en-US" sz="1400">
                <a:solidFill>
                  <a:sysClr val="windowText" lastClr="000000"/>
                </a:solidFill>
              </a:rPr>
              <a:t>large</a:t>
            </a:r>
            <a:r>
              <a:rPr lang="en-US" sz="1400" b="0">
                <a:solidFill>
                  <a:sysClr val="windowText" lastClr="000000"/>
                </a:solidFill>
              </a:rPr>
              <a:t> enough</a:t>
            </a:r>
            <a:endParaRPr lang="en-US" sz="1400">
              <a:solidFill>
                <a:sysClr val="windowText" lastClr="000000"/>
              </a:solidFill>
            </a:endParaRPr>
          </a:p>
        </p:txBody>
      </p: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564EE079-C8E9-1AAC-C2D4-24E9BBF0C5B3}"/>
              </a:ext>
            </a:extLst>
          </p:cNvPr>
          <p:cNvCxnSpPr>
            <a:cxnSpLocks/>
            <a:stCxn id="6" idx="2"/>
            <a:endCxn id="171" idx="0"/>
          </p:cNvCxnSpPr>
          <p:nvPr/>
        </p:nvCxnSpPr>
        <p:spPr>
          <a:xfrm>
            <a:off x="5066677" y="2451376"/>
            <a:ext cx="515" cy="23369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Connector: Elbow 176">
            <a:extLst>
              <a:ext uri="{FF2B5EF4-FFF2-40B4-BE49-F238E27FC236}">
                <a16:creationId xmlns:a16="http://schemas.microsoft.com/office/drawing/2014/main" id="{D864CA85-B69E-60F0-7E7F-F7070AD2B0CA}"/>
              </a:ext>
            </a:extLst>
          </p:cNvPr>
          <p:cNvCxnSpPr>
            <a:cxnSpLocks/>
            <a:stCxn id="171" idx="1"/>
            <a:endCxn id="118" idx="2"/>
          </p:cNvCxnSpPr>
          <p:nvPr/>
        </p:nvCxnSpPr>
        <p:spPr>
          <a:xfrm rot="10800000" flipH="1" flipV="1">
            <a:off x="3657492" y="3225305"/>
            <a:ext cx="7908640" cy="2349900"/>
          </a:xfrm>
          <a:prstGeom prst="bentConnector4">
            <a:avLst>
              <a:gd name="adj1" fmla="val -2891"/>
              <a:gd name="adj2" fmla="val 1506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1" name="TextBox 180">
            <a:extLst>
              <a:ext uri="{FF2B5EF4-FFF2-40B4-BE49-F238E27FC236}">
                <a16:creationId xmlns:a16="http://schemas.microsoft.com/office/drawing/2014/main" id="{2D705BAA-AB18-9C5D-7A1D-8A5ED006F510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402977" y="2842174"/>
            <a:ext cx="16637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/>
              <a:t>False</a:t>
            </a:r>
            <a:endParaRPr lang="en-US" sz="16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2" name="Flowchart: Decision 181">
                <a:extLst>
                  <a:ext uri="{FF2B5EF4-FFF2-40B4-BE49-F238E27FC236}">
                    <a16:creationId xmlns:a16="http://schemas.microsoft.com/office/drawing/2014/main" id="{E9182D35-15AC-B847-A4E3-66715228E62D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8049458" y="4767522"/>
                <a:ext cx="2578315" cy="1089944"/>
              </a:xfrm>
              <a:prstGeom prst="flowChartDecision">
                <a:avLst/>
              </a:prstGeom>
              <a:solidFill>
                <a:srgbClr val="FFC000">
                  <a:alpha val="98000"/>
                </a:srgbClr>
              </a:solidFill>
            </p:spPr>
            <p:style>
              <a:lnRef idx="2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100" b="0">
                    <a:solidFill>
                      <a:srgbClr val="002060"/>
                    </a:solidFill>
                  </a:rPr>
                  <a:t>? </a:t>
                </a:r>
                <a14:m>
                  <m:oMath xmlns:m="http://schemas.openxmlformats.org/officeDocument/2006/math"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𝑈𝑝𝑑𝑎𝑡𝑒</m:t>
                    </m:r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100" b="0" i="1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100" b="0" i="1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100" b="0" i="1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𝑙𝑖𝑚𝑖𝑡</m:t>
                    </m:r>
                    <m:r>
                      <a:rPr lang="en-US" sz="1100" b="0" i="0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 &amp; </m:t>
                    </m:r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𝑈𝑝𝑑𝑎𝑡𝑒</m:t>
                    </m:r>
                    <m:r>
                      <a:rPr lang="en-US" sz="1100" b="0" i="1" smtClean="0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_</m:t>
                    </m:r>
                    <m:r>
                      <a:rPr lang="en-US" sz="1100" i="1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𝐶</m:t>
                    </m:r>
                    <m:sSub>
                      <m:sSubPr>
                        <m:ctrlPr>
                          <a:rPr lang="en-US" sz="1100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100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𝐴</m:t>
                        </m:r>
                      </m:e>
                      <m:sub>
                        <m:r>
                          <a:rPr lang="en-US" sz="1100" i="1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</m:sub>
                    </m:sSub>
                    <m:r>
                      <a:rPr lang="en-US" sz="1100" i="1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&lt;</m:t>
                    </m:r>
                    <m:r>
                      <a:rPr lang="en-US" sz="1100" i="1">
                        <a:solidFill>
                          <a:srgbClr val="002060"/>
                        </a:solidFill>
                        <a:latin typeface="Cambria Math" panose="02040503050406030204" pitchFamily="18" charset="0"/>
                      </a:rPr>
                      <m:t>𝑙𝑖𝑚𝑖𝑡</m:t>
                    </m:r>
                  </m:oMath>
                </a14:m>
                <a:r>
                  <a:rPr lang="en-US" sz="1100">
                    <a:solidFill>
                      <a:srgbClr val="002060"/>
                    </a:solidFill>
                  </a:rPr>
                  <a:t> </a:t>
                </a:r>
                <a:r>
                  <a:rPr lang="en-US" sz="1100" baseline="30000">
                    <a:solidFill>
                      <a:srgbClr val="002060"/>
                    </a:solidFill>
                  </a:rPr>
                  <a:t>*3</a:t>
                </a:r>
                <a:endParaRPr lang="en-US" sz="1100">
                  <a:solidFill>
                    <a:srgbClr val="002060"/>
                  </a:solidFill>
                </a:endParaRPr>
              </a:p>
            </p:txBody>
          </p:sp>
        </mc:Choice>
        <mc:Fallback xmlns="">
          <p:sp>
            <p:nvSpPr>
              <p:cNvPr id="182" name="Flowchart: Decision 181">
                <a:extLst>
                  <a:ext uri="{FF2B5EF4-FFF2-40B4-BE49-F238E27FC236}">
                    <a16:creationId xmlns:a16="http://schemas.microsoft.com/office/drawing/2014/main" id="{E9182D35-15AC-B847-A4E3-66715228E62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37"/>
                </p:custDataLst>
              </p:nvPr>
            </p:nvSpPr>
            <p:spPr>
              <a:xfrm>
                <a:off x="8049458" y="4767522"/>
                <a:ext cx="2578315" cy="1089944"/>
              </a:xfrm>
              <a:prstGeom prst="flowChartDecision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3" name="TextBox 192">
            <a:extLst>
              <a:ext uri="{FF2B5EF4-FFF2-40B4-BE49-F238E27FC236}">
                <a16:creationId xmlns:a16="http://schemas.microsoft.com/office/drawing/2014/main" id="{E54EFEE4-75B0-6B0B-8F93-9FE60898DF69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5221708" y="3768949"/>
            <a:ext cx="723497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/>
              <a:t>True</a:t>
            </a:r>
            <a:endParaRPr lang="en-US" sz="1600"/>
          </a:p>
        </p:txBody>
      </p:sp>
      <p:sp>
        <p:nvSpPr>
          <p:cNvPr id="194" name="Rectangle: Rounded Corners 193">
            <a:extLst>
              <a:ext uri="{FF2B5EF4-FFF2-40B4-BE49-F238E27FC236}">
                <a16:creationId xmlns:a16="http://schemas.microsoft.com/office/drawing/2014/main" id="{CD0D4E1E-A692-7619-A5DB-309C41EFF1F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193868" y="6139923"/>
            <a:ext cx="2289494" cy="526473"/>
          </a:xfrm>
          <a:prstGeom prst="roundRect">
            <a:avLst/>
          </a:prstGeom>
          <a:solidFill>
            <a:schemeClr val="tx2">
              <a:alpha val="54000"/>
            </a:schemeClr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set OL and move CA accordingly</a:t>
            </a:r>
          </a:p>
        </p:txBody>
      </p:sp>
      <p:cxnSp>
        <p:nvCxnSpPr>
          <p:cNvPr id="197" name="Straight Arrow Connector 196">
            <a:extLst>
              <a:ext uri="{FF2B5EF4-FFF2-40B4-BE49-F238E27FC236}">
                <a16:creationId xmlns:a16="http://schemas.microsoft.com/office/drawing/2014/main" id="{E950C3FA-9DC6-342E-628D-14DBAFA81DAB}"/>
              </a:ext>
            </a:extLst>
          </p:cNvPr>
          <p:cNvCxnSpPr>
            <a:cxnSpLocks/>
            <a:stCxn id="182" idx="2"/>
            <a:endCxn id="194" idx="0"/>
          </p:cNvCxnSpPr>
          <p:nvPr/>
        </p:nvCxnSpPr>
        <p:spPr>
          <a:xfrm flipH="1">
            <a:off x="9338615" y="5857466"/>
            <a:ext cx="1" cy="2824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F76D0AB7-E028-C7AB-6D57-A4EAEABB65C4}"/>
              </a:ext>
            </a:extLst>
          </p:cNvPr>
          <p:cNvCxnSpPr/>
          <p:nvPr/>
        </p:nvCxnSpPr>
        <p:spPr>
          <a:xfrm flipV="1">
            <a:off x="622300" y="4276695"/>
            <a:ext cx="1651000" cy="129851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E64C8E92-0FC7-721F-7C2F-4123033018F1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445192" y="5794022"/>
            <a:ext cx="1524000" cy="4093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400"/>
              <a:t>Original wobble shift</a:t>
            </a:r>
          </a:p>
        </p:txBody>
      </p: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962A876F-DE70-DA8C-27C7-F4F83519A7A2}"/>
              </a:ext>
            </a:extLst>
          </p:cNvPr>
          <p:cNvCxnSpPr>
            <a:cxnSpLocks/>
          </p:cNvCxnSpPr>
          <p:nvPr/>
        </p:nvCxnSpPr>
        <p:spPr>
          <a:xfrm flipV="1">
            <a:off x="622298" y="5262599"/>
            <a:ext cx="1889348" cy="324207"/>
          </a:xfrm>
          <a:prstGeom prst="straightConnector1">
            <a:avLst/>
          </a:prstGeom>
          <a:ln>
            <a:solidFill>
              <a:srgbClr val="55D1C9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F132E2ED-C805-2DB5-A6C8-1076D7C38557}"/>
              </a:ext>
            </a:extLst>
          </p:cNvPr>
          <p:cNvCxnSpPr>
            <a:cxnSpLocks/>
          </p:cNvCxnSpPr>
          <p:nvPr/>
        </p:nvCxnSpPr>
        <p:spPr>
          <a:xfrm>
            <a:off x="2301470" y="4265094"/>
            <a:ext cx="210176" cy="99750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0" name="TextBox 219">
            <a:extLst>
              <a:ext uri="{FF2B5EF4-FFF2-40B4-BE49-F238E27FC236}">
                <a16:creationId xmlns:a16="http://schemas.microsoft.com/office/drawing/2014/main" id="{7B35DFD6-78EF-EBCB-456D-E3360D221DD3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566972" y="5424702"/>
            <a:ext cx="1206363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Move </a:t>
            </a:r>
            <a:r>
              <a:rPr lang="en-US" sz="1600" err="1"/>
              <a:t>CAx</a:t>
            </a:r>
            <a:endParaRPr lang="en-US" sz="1600"/>
          </a:p>
        </p:txBody>
      </p:sp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B10C5533-023C-AA14-8F42-6B56897D8724}"/>
              </a:ext>
            </a:extLst>
          </p:cNvPr>
          <p:cNvCxnSpPr/>
          <p:nvPr/>
        </p:nvCxnSpPr>
        <p:spPr>
          <a:xfrm flipV="1">
            <a:off x="622298" y="4393650"/>
            <a:ext cx="1193802" cy="1181555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5" name="TextBox 224">
            <a:extLst>
              <a:ext uri="{FF2B5EF4-FFF2-40B4-BE49-F238E27FC236}">
                <a16:creationId xmlns:a16="http://schemas.microsoft.com/office/drawing/2014/main" id="{7017F6B3-2BA8-5F94-DD63-A8E2A816E1E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9473" y="4938428"/>
            <a:ext cx="104931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Move </a:t>
            </a:r>
            <a:r>
              <a:rPr lang="en-US" sz="1600" err="1"/>
              <a:t>CAy</a:t>
            </a:r>
            <a:endParaRPr lang="en-US" sz="1600"/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FBB8FE28-E169-7946-7C51-260F7040F17D}"/>
              </a:ext>
            </a:extLst>
          </p:cNvPr>
          <p:cNvCxnSpPr/>
          <p:nvPr/>
        </p:nvCxnSpPr>
        <p:spPr>
          <a:xfrm flipH="1">
            <a:off x="1816100" y="4276695"/>
            <a:ext cx="457200" cy="12356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DBCB738E-E73C-5355-A6A4-00103E8848A6}"/>
              </a:ext>
            </a:extLst>
          </p:cNvPr>
          <p:cNvCxnSpPr>
            <a:cxnSpLocks/>
          </p:cNvCxnSpPr>
          <p:nvPr/>
        </p:nvCxnSpPr>
        <p:spPr>
          <a:xfrm flipH="1">
            <a:off x="416750" y="4273393"/>
            <a:ext cx="1856550" cy="574774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Arrow Connector 230">
            <a:extLst>
              <a:ext uri="{FF2B5EF4-FFF2-40B4-BE49-F238E27FC236}">
                <a16:creationId xmlns:a16="http://schemas.microsoft.com/office/drawing/2014/main" id="{685EF8D9-5EB7-D691-2ADD-FAC063DFCF9D}"/>
              </a:ext>
            </a:extLst>
          </p:cNvPr>
          <p:cNvCxnSpPr>
            <a:cxnSpLocks/>
          </p:cNvCxnSpPr>
          <p:nvPr/>
        </p:nvCxnSpPr>
        <p:spPr>
          <a:xfrm>
            <a:off x="440613" y="4803018"/>
            <a:ext cx="152055" cy="744712"/>
          </a:xfrm>
          <a:prstGeom prst="straightConnector1">
            <a:avLst/>
          </a:prstGeom>
          <a:ln>
            <a:solidFill>
              <a:srgbClr val="FF6A13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236">
            <a:extLst>
              <a:ext uri="{FF2B5EF4-FFF2-40B4-BE49-F238E27FC236}">
                <a16:creationId xmlns:a16="http://schemas.microsoft.com/office/drawing/2014/main" id="{2358036D-4FE5-160F-880C-8C7E121F9D27}"/>
              </a:ext>
            </a:extLst>
          </p:cNvPr>
          <p:cNvCxnSpPr>
            <a:cxnSpLocks/>
          </p:cNvCxnSpPr>
          <p:nvPr/>
        </p:nvCxnSpPr>
        <p:spPr>
          <a:xfrm flipV="1">
            <a:off x="622296" y="5307748"/>
            <a:ext cx="682127" cy="27905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9" name="TextBox 238">
            <a:extLst>
              <a:ext uri="{FF2B5EF4-FFF2-40B4-BE49-F238E27FC236}">
                <a16:creationId xmlns:a16="http://schemas.microsoft.com/office/drawing/2014/main" id="{655D9555-5E4D-1A27-BDB1-3E2748551286}"/>
              </a:ext>
            </a:extLst>
          </p:cNvPr>
          <p:cNvSpPr txBox="1"/>
          <p:nvPr/>
        </p:nvSpPr>
        <p:spPr>
          <a:xfrm>
            <a:off x="1283439" y="5096394"/>
            <a:ext cx="1814252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/>
              <a:t>New </a:t>
            </a:r>
            <a:r>
              <a:rPr lang="en-US" sz="1600" err="1"/>
              <a:t>wobbleshift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438913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3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6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9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6" fill="hold">
                      <p:stCondLst>
                        <p:cond delay="indefinite"/>
                      </p:stCondLst>
                      <p:childTnLst>
                        <p:par>
                          <p:cTn id="197" fill="hold">
                            <p:stCondLst>
                              <p:cond delay="0"/>
                            </p:stCondLst>
                            <p:childTnLst>
                              <p:par>
                                <p:cTn id="1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0" grpId="0" animBg="1"/>
      <p:bldP spid="4" grpId="0" animBg="1"/>
      <p:bldP spid="25" grpId="0" animBg="1"/>
      <p:bldP spid="66" grpId="0"/>
      <p:bldP spid="70" grpId="0"/>
      <p:bldP spid="9" grpId="0" animBg="1"/>
      <p:bldP spid="18" grpId="0" animBg="1"/>
      <p:bldP spid="24" grpId="0" animBg="1"/>
      <p:bldP spid="116" grpId="0"/>
      <p:bldP spid="117" grpId="0"/>
      <p:bldP spid="118" grpId="0" animBg="1"/>
      <p:bldP spid="171" grpId="0" animBg="1"/>
      <p:bldP spid="181" grpId="0"/>
      <p:bldP spid="182" grpId="0" animBg="1"/>
      <p:bldP spid="193" grpId="0"/>
      <p:bldP spid="194" grpId="0" animBg="1"/>
      <p:bldP spid="208" grpId="0"/>
      <p:bldP spid="220" grpId="0"/>
      <p:bldP spid="220" grpId="1"/>
      <p:bldP spid="225" grpId="0"/>
      <p:bldP spid="225" grpId="1"/>
      <p:bldP spid="23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7, 20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AUTHORING_SESSION_ID" val="a0816322-0148-42d8-b738-2e9d88c75492"/>
  <p:tag name="UNDO_REDO_REVISION" val="232"/>
  <p:tag name="MIO_PRESENTATION_LANGUAGE" val="1033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ZmfAG71bJLtxmllhKaVDkEAAAAAAADAAAAAAADAAAAAwADAAAAAAD///////8DAAEA////////BQAAAAMAEAALGwp8Hl6Hw0SlX4XVkKunhgQAAAABAAMAAAACAAMAAAAEAAQAAQD///////8FAAAABAAQAAu1aIXukZOFSL/DCvRvgpOi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CwOAAAAAAAAAAAAAP////+DAIMAAAAFX2lkABAAAAAEhmZ8AbvVsku3GaWWEppUOQNEYXRhABsAAAAETGlua2VkU2hhcGVEYXRhAAUAAAAAAAJOYW1lABkAAABMaW5rZWRTaGFwZXNEYXRhUHJvcGVydHkAEFZlcnNpb24AAQAAAAlMYXN0V3JpdGUA9G/SlpABAAAAAQD/////gwCDAAAABV9pZAAQAAAABBsKfB5eh8NEpV+F1ZCrp4YDRGF0YQAbAAAABExpbmtlZFNoYXBlRGF0YQAFAAAAAAACTmFtZQAZAAAATGlua2VkU2hhcGVzRGF0YVByb3BlcnR5ABBWZXJzaW9uAAAAAAAJTGFzdFdyaXRlAHjprNF6AQAAAAI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EEAAAAAAAFAAAAAwAFAAAAAQADAAEBAwAAAAMA////////GgAGTGlua2VkU2hhcGVzRGF0YVByb3BlcnR5XzAEAAAAAQAFAAAABAAFAAAAAgAEAAIBAwAAAAQA////////JQAGTGlua2VkU2hhcGVQcmVzZW50YXRpb25TZXR0aW5nc0RhdGFfMAQAAAACAAUAAAAAAAUAAAAD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61140923299563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1cfdec83-e66e-4972-8d33-1768f99798a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d1520f6d-e89b-4cc0-a501-da1e7d9151cc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d1520f6d-e89b-4cc0-a501-da1e7d9151c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1bc2baef-ea54-4359-bcd1-a496414d720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1bc2baef-ea54-4359-bcd1-a496414d720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42356b8d-fe25-4919-8856-bc9eb06937dc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42356b8d-fe25-4919-8856-bc9eb06937d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pUa6PJ0OtHp7aArlmG8I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Ua6PJ0OtHp7aArlmG8IIDRGF0YQAWAAAAAlBlcnNvbmFsSWQAAQAAAAAAAk5hbWUACwAAAFBlcnNvbmFsSWQAEFZlcnNpb24AAAAAAAlMYXN0V3JpdGUAlGIa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918068939291"/>
  <p:tag name="EMPOWERCHARTSPROPERTIES_A_LENGTH" val="24576"/>
  <p:tag name="RUNTIME_ID" val="0863cc4c-fee8-4c01-9954-aafff8d8d2e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KIb7J/lUpPoiE0dvf5P1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wMAAAAAAAAAAAAACAB////////////////AAAA////////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MAAZQZXJzb25hbElkXzAFAAAAAAAEAAAAAAAEAAAAAQA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KIb7J/lUpPoiE0dvf5P1gDRGF0YQAWAAAAAlBlcnNvbmFsSWQAAQAAAAAAAk5hbWUACwAAAFBlcnNvbmFsSWQAEFZlcnNpb24AAAAAAAlMYXN0V3JpdGUAcp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204554"/>
  <p:tag name="EMPOWERCHARTSPROPERTIES_A_LENGTH" val="24576"/>
  <p:tag name="RUNTIME_ID" val="65f25167-38bd-4bdd-adbe-7207de1891e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20Oj+VUupHgHZvvNJlW3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20Oj+VUupHgHZvvNJlW3kDRGF0YQAWAAAAAlBlcnNvbmFsSWQAAQAAAAAAAk5hbWUACwAAAFBlcnNvbmFsSWQAEFZlcnNpb24AAAAAAAlMYXN0V3JpdGUA05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835614"/>
  <p:tag name="EMPOWERCHARTSPROPERTIES_A_LENGTH" val="24576"/>
  <p:tag name="RUNTIME_ID" val="051c21d5-5084-423b-aa07-be6fadd1099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027af34d-fa41-4c68-8b42-234e8e31faac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027af34d-fa41-4c68-8b42-234e8e31faa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25dbee59-bc83-48fc-9a0f-19dd57877da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25dbee59-bc83-48fc-9a0f-19dd57877da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0e60c522-d67f-48bd-97a3-3e9243b04b5f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3wkerBMvhPrjns+nnwiv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3wkerBMvhPrjns+nnwivIDRGF0YQAWAAAAAlBlcnNvbmFsSWQAAQAAAAAAAk5hbWUACwAAAFBlcnNvbmFsSWQAEFZlcnNpb24AAAAAAAlMYXN0V3JpdGUA3s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843890"/>
  <p:tag name="EMPOWERCHARTSPROPERTIES_A_LENGTH" val="24576"/>
  <p:tag name="RUNTIME_ID" val="0e60c522-d67f-48bd-97a3-3e9243b04b5f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20Oj+VUupHgHZvvNJlW3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20Oj+VUupHgHZvvNJlW3kDRGF0YQAWAAAAAlBlcnNvbmFsSWQAAQAAAAAAAk5hbWUACwAAAFBlcnNvbmFsSWQAEFZlcnNpb24AAAAAAAlMYXN0V3JpdGUA05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835614"/>
  <p:tag name="EMPOWERCHARTSPROPERTIES_A_LENGTH" val="24576"/>
  <p:tag name="RUNTIME_ID" val="69121af4-ec99-45a6-84a3-14190cd812ff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KIb7J/lUpPoiE0dvf5P1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wMAAAAAAAAAAAAACAB////////////////AAAA////////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MAAZQZXJzb25hbElkXzAFAAAAAAAEAAAAAAAEAAAAAQA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KIb7J/lUpPoiE0dvf5P1gDRGF0YQAWAAAAAlBlcnNvbmFsSWQAAQAAAAAAAk5hbWUACwAAAFBlcnNvbmFsSWQAEFZlcnNpb24AAAAAAAlMYXN0V3JpdGUAcp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204554"/>
  <p:tag name="EMPOWERCHARTSPROPERTIES_A_LENGTH" val="24576"/>
  <p:tag name="RUNTIME_ID" val="5f891abe-e99e-4eea-beb0-b03a1539ffc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da1d4299-40a2-4420-8ccf-0da3d322fc6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pUa6PJ0OtHp7aArlmG8I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Ua6PJ0OtHp7aArlmG8IIDRGF0YQAWAAAAAlBlcnNvbmFsSWQAAQAAAAAAAk5hbWUACwAAAFBlcnNvbmFsSWQAEFZlcnNpb24AAAAAAAlMYXN0V3JpdGUAlGIa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918068939291"/>
  <p:tag name="EMPOWERCHARTSPROPERTIES_A_LENGTH" val="24576"/>
  <p:tag name="RUNTIME_ID" val="5fc8d2f5-8728-4e9e-b784-309d982e522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KIb7J/lUpPoiE0dvf5P1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DwMAAAAAAAAAAAAACAB////////////////AAAA////////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MAAZQZXJzb25hbElkXzAFAAAAAAAEAAAAAAAEAAAAAQAEAAAAAAD///////8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KIb7J/lUpPoiE0dvf5P1gDRGF0YQAWAAAAAlBlcnNvbmFsSWQAAQAAAAAAAk5hbWUACwAAAFBlcnNvbmFsSWQAEFZlcnNpb24AAAAAAAlMYXN0V3JpdGUAcp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204554"/>
  <p:tag name="EMPOWERCHARTSPROPERTIES_A_LENGTH" val="24576"/>
  <p:tag name="RUNTIME_ID" val="e06074da-7953-4244-bfe0-66cb671d579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pUa6PJ0OtHp7aArlmG8I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Ua6PJ0OtHp7aArlmG8IIDRGF0YQAWAAAAAlBlcnNvbmFsSWQAAQAAAAAAAk5hbWUACwAAAFBlcnNvbmFsSWQAEFZlcnNpb24AAAAAAAlMYXN0V3JpdGUAlGIa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918068939291"/>
  <p:tag name="EMPOWERCHARTSPROPERTIES_A_LENGTH" val="24576"/>
  <p:tag name="RUNTIME_ID" val="ea96cf74-3574-4047-93ac-93b49abd518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pUa6PJ0OtHp7aArlmG8II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GpUa6PJ0OtHp7aArlmG8IIDRGF0YQAWAAAAAlBlcnNvbmFsSWQAAQAAAAAAAk5hbWUACwAAAFBlcnNvbmFsSWQAEFZlcnNpb24AAAAAAAlMYXN0V3JpdGUAlGIa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918068939291"/>
  <p:tag name="EMPOWERCHARTSPROPERTIES_A_LENGTH" val="24576"/>
  <p:tag name="RUNTIME_ID" val="ea96cf74-3574-4047-93ac-93b49abd518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z20Oj+VUupHgHZvvNJlW3k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D20Oj+VUupHgHZvvNJlW3kDRGF0YQAWAAAAAlBlcnNvbmFsSWQAAQAAAAAAAk5hbWUACwAAAFBlcnNvbmFsSWQAEFZlcnNpb24AAAAAAAlMYXN0V3JpdGUA053SD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38806835614"/>
  <p:tag name="EMPOWERCHARTSPROPERTIES_A_LENGTH" val="24576"/>
  <p:tag name="RUNTIME_ID" val="66fdc9d0-cf80-4692-ac3d-42813673536f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hGl6oVb5Oq38dJdo4E/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hGl6oVb5Oq38dJdo4E/kDRGF0YQAWAAAAAlBlcnNvbmFsSWQAAQAAAAAAAk5hbWUACwAAAFBlcnNvbmFsSWQAEFZlcnNpb24AAAAAAAlMYXN0V3JpdGUAucD9C4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4899304448027"/>
  <p:tag name="EMPOWERCHARTSPROPERTIES_A_LENGTH" val="24576"/>
  <p:tag name="RUNTIME_ID" val="cff24ced-fb2a-4cbc-b4b2-c98b094e63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fpvFl9y19Ps15B3st1Qk0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fpvFl9y19Ps15B3st1Qk0DRGF0YQAWAAAAAlBlcnNvbmFsSWQAAQAAAAAAAk5hbWUACwAAAFBlcnNvbmFsSWQAEFZlcnNpb24AAAAAAAlMYXN0V3JpdGUAJicKD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75203161471"/>
  <p:tag name="EMPOWERCHARTSPROPERTIES_A_LENGTH" val="24576"/>
  <p:tag name="RUNTIME_ID" val="d7e14909-bce4-444f-8ffd-d6e911b4848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esygWomuhKqgK95gsVh7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esygWomuhKqgK95gsVh70DRGF0YQAWAAAAAlBlcnNvbmFsSWQAAQAAAAAAAk5hbWUACwAAAFBlcnNvbmFsSWQAEFZlcnNpb24AAAAAAAlMYXN0V3JpdGUAra0LD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76202858437"/>
  <p:tag name="EMPOWERCHARTSPROPERTIES_A_LENGTH" val="24576"/>
  <p:tag name="RUNTIME_ID" val="50dd9773-9f48-45ae-b78a-e164c45b581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nkUfINjSlBkxrz9F+SdC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nkUfINjSlBkxrz9F+SdCoDRGF0YQAWAAAAAlBlcnNvbmFsSWQAAQAAAAAAAk5hbWUACwAAAFBlcnNvbmFsSWQAEFZlcnNpb24AAAAAAAlMYXN0V3JpdGUA8CoNDY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95077179046768"/>
  <p:tag name="EMPOWERCHARTSPROPERTIES_A_LENGTH" val="24576"/>
  <p:tag name="RUNTIME_ID" val="9e10e715-0e7c-4740-a3a7-42e28f0eb84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15.04.2024 12:26:06"/>
  <p:tag name="MIO_LASTDOWNLOADED" val="03.07.2024 11:44:27.861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58A94E32-D02A-470F-B270-0850FDF90CAE}" vid="{46371A1F-6575-4FE6-8214-9411973EB134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9bb7800a-9dd4-4efa-9404-7ac564e64633" ContentTypeId="0x0101" PreviousValue="false"/>
</file>

<file path=customXml/itemProps1.xml><?xml version="1.0" encoding="utf-8"?>
<ds:datastoreItem xmlns:ds="http://schemas.openxmlformats.org/officeDocument/2006/customXml" ds:itemID="{AFBCE00E-75BB-4F60-96C8-6C9AA8CDF59F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  <ds:schemaRef ds:uri="f45196d8-d345-4d19-b276-7560caf3b497"/>
    <ds:schemaRef ds:uri="http://schemas.microsoft.com/office/2006/metadata/properties"/>
    <ds:schemaRef ds:uri="http://purl.org/dc/terms/"/>
    <ds:schemaRef ds:uri="665c44e8-82e0-472a-a146-da60c58e68e1"/>
  </ds:schemaRefs>
</ds:datastoreItem>
</file>

<file path=customXml/itemProps2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DF9B4B-33B2-4D9F-A3B2-FDE137E095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b34eedfc-73f5-4c56-9ed0-8189ca2f8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25</TotalTime>
  <Words>276</Words>
  <Application>Microsoft Office PowerPoint</Application>
  <PresentationFormat>Widescreen</PresentationFormat>
  <Paragraphs>47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Cambria Math</vt:lpstr>
      <vt:lpstr>ASML Template 2021</vt:lpstr>
      <vt:lpstr>ACPD – CA Search Function, Local Autofocus Throughput Improvement</vt:lpstr>
      <vt:lpstr>PowerPoint Presentation</vt:lpstr>
      <vt:lpstr>PowerPoint Presentation</vt:lpstr>
      <vt:lpstr>PowerPoint Presentation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PD – CA Search Function, Local Autofocus Throughput Improvement</dc:title>
  <dc:creator>Liang Li</dc:creator>
  <cp:lastModifiedBy>Liang Li</cp:lastModifiedBy>
  <cp:revision>5</cp:revision>
  <dcterms:created xsi:type="dcterms:W3CDTF">2025-03-07T01:16:20Z</dcterms:created>
  <dcterms:modified xsi:type="dcterms:W3CDTF">2025-03-07T20:40:24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ClassificationContentMarkingFooterLocations">
    <vt:lpwstr>ASML Template 2021:9</vt:lpwstr>
  </property>
  <property fmtid="{D5CDD505-2E9C-101B-9397-08002B2CF9AE}" pid="5" name="ClassificationContentMarkingFooterText">
    <vt:lpwstr>Confidential</vt:lpwstr>
  </property>
  <property fmtid="{D5CDD505-2E9C-101B-9397-08002B2CF9AE}" pid="6" name="MSIP_Label_f6a2fad9-126f-43f1-a0a4-9c907561022c_Enabled">
    <vt:lpwstr>true</vt:lpwstr>
  </property>
  <property fmtid="{D5CDD505-2E9C-101B-9397-08002B2CF9AE}" pid="7" name="MSIP_Label_f6a2fad9-126f-43f1-a0a4-9c907561022c_SetDate">
    <vt:lpwstr>2025-03-07T01:16:30Z</vt:lpwstr>
  </property>
  <property fmtid="{D5CDD505-2E9C-101B-9397-08002B2CF9AE}" pid="8" name="MSIP_Label_f6a2fad9-126f-43f1-a0a4-9c907561022c_Method">
    <vt:lpwstr>Privileged</vt:lpwstr>
  </property>
  <property fmtid="{D5CDD505-2E9C-101B-9397-08002B2CF9AE}" pid="9" name="MSIP_Label_f6a2fad9-126f-43f1-a0a4-9c907561022c_Name">
    <vt:lpwstr>Non-Business</vt:lpwstr>
  </property>
  <property fmtid="{D5CDD505-2E9C-101B-9397-08002B2CF9AE}" pid="10" name="MSIP_Label_f6a2fad9-126f-43f1-a0a4-9c907561022c_SiteId">
    <vt:lpwstr>af73baa8-f594-4eb2-a39d-93e96cad61fc</vt:lpwstr>
  </property>
  <property fmtid="{D5CDD505-2E9C-101B-9397-08002B2CF9AE}" pid="11" name="MSIP_Label_f6a2fad9-126f-43f1-a0a4-9c907561022c_ActionId">
    <vt:lpwstr>5384dc3c-e2ec-457d-a5a1-681eae519e5e</vt:lpwstr>
  </property>
  <property fmtid="{D5CDD505-2E9C-101B-9397-08002B2CF9AE}" pid="12" name="MSIP_Label_f6a2fad9-126f-43f1-a0a4-9c907561022c_ContentBits">
    <vt:lpwstr>0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